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8" r:id="rId2"/>
    <p:sldId id="272" r:id="rId3"/>
    <p:sldId id="274" r:id="rId4"/>
  </p:sldIdLst>
  <p:sldSz cx="6858000" cy="9906000" type="A4"/>
  <p:notesSz cx="29818013" cy="42354500"/>
  <p:embeddedFontLst>
    <p:embeddedFont>
      <p:font typeface="NeulandFontEuro" panose="00000400000000000000" pitchFamily="2" charset="0"/>
      <p:regular r:id="rId7"/>
    </p:embeddedFont>
  </p:embeddedFontLst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9">
          <p15:clr>
            <a:srgbClr val="A4A3A4"/>
          </p15:clr>
        </p15:guide>
        <p15:guide id="2" orient="horz" pos="564">
          <p15:clr>
            <a:srgbClr val="A4A3A4"/>
          </p15:clr>
        </p15:guide>
        <p15:guide id="3" orient="horz" pos="1155">
          <p15:clr>
            <a:srgbClr val="A4A3A4"/>
          </p15:clr>
        </p15:guide>
        <p15:guide id="4" pos="28">
          <p15:clr>
            <a:srgbClr val="A4A3A4"/>
          </p15:clr>
        </p15:guide>
        <p15:guide id="5" pos="4292">
          <p15:clr>
            <a:srgbClr val="A4A3A4"/>
          </p15:clr>
        </p15:guide>
        <p15:guide id="6" pos="255">
          <p15:clr>
            <a:srgbClr val="A4A3A4"/>
          </p15:clr>
        </p15:guide>
        <p15:guide id="7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3342" userDrawn="1">
          <p15:clr>
            <a:srgbClr val="A4A3A4"/>
          </p15:clr>
        </p15:guide>
        <p15:guide id="2" pos="939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a Mettenberger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0867" autoAdjust="0"/>
    <p:restoredTop sz="94692" autoAdjust="0"/>
  </p:normalViewPr>
  <p:slideViewPr>
    <p:cSldViewPr showGuides="1">
      <p:cViewPr varScale="1">
        <p:scale>
          <a:sx n="96" d="100"/>
          <a:sy n="96" d="100"/>
        </p:scale>
        <p:origin x="3407" y="98"/>
      </p:cViewPr>
      <p:guideLst>
        <p:guide orient="horz" pos="3619"/>
        <p:guide orient="horz" pos="564"/>
        <p:guide orient="horz" pos="1155"/>
        <p:guide pos="28"/>
        <p:guide pos="4292"/>
        <p:guide pos="255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-2544" y="-96"/>
      </p:cViewPr>
      <p:guideLst>
        <p:guide orient="horz" pos="13342"/>
        <p:guide pos="939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6886664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/>
            </a:lvl1pPr>
          </a:lstStyle>
          <a:p>
            <a:fld id="{574C8D00-804B-ED49-893B-BC0E614417C6}" type="datetimeFigureOut">
              <a:rPr lang="de-DE" smtClean="0">
                <a:latin typeface="Arial" panose="020B0604020202020204" pitchFamily="34" charset="0"/>
              </a:rPr>
              <a:pPr/>
              <a:t>02.08.2025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/>
            </a:lvl1pPr>
          </a:lstStyle>
          <a:p>
            <a:r>
              <a:rPr lang="de-DE">
                <a:latin typeface="Arial" panose="020B0604020202020204" pitchFamily="34" charset="0"/>
              </a:rPr>
              <a:t>PowerPoint-Flipchart-Kreuzraster.pptx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16886664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/>
            </a:lvl1pPr>
          </a:lstStyle>
          <a:p>
            <a:fld id="{D850AFBC-43EC-D246-B8E6-61BBBD79D02A}" type="slidenum">
              <a:rPr lang="de-DE" smtClean="0">
                <a:latin typeface="Arial" panose="020B0604020202020204" pitchFamily="34" charset="0"/>
              </a:rPr>
              <a:pPr/>
              <a:t>‹#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953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6889977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D9146127-4512-440A-9BF4-FED203E234BA}" type="datetimeFigureOut">
              <a:rPr lang="de-DE" smtClean="0"/>
              <a:pPr/>
              <a:t>02.08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10700" y="3176588"/>
            <a:ext cx="10996613" cy="15884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394562" tIns="197280" rIns="394562" bIns="19728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981804" y="20118390"/>
            <a:ext cx="23854410" cy="19059525"/>
          </a:xfrm>
          <a:prstGeom prst="rect">
            <a:avLst/>
          </a:prstGeom>
        </p:spPr>
        <p:txBody>
          <a:bodyPr vert="horz" lIns="394562" tIns="197280" rIns="394562" bIns="19728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r>
              <a:rPr lang="de-DE"/>
              <a:t>PowerPoint-Flipchart-Kreuzraster.pptx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6889977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0C9634D8-3580-4515-A476-740596A73D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1443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5310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648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97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reuzraster">
            <a:extLst>
              <a:ext uri="{FF2B5EF4-FFF2-40B4-BE49-F238E27FC236}">
                <a16:creationId xmlns:a16="http://schemas.microsoft.com/office/drawing/2014/main" id="{A70C3A0D-2921-1F41-66D3-9420194E60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485" b="-125"/>
          <a:stretch>
            <a:fillRect/>
          </a:stretch>
        </p:blipFill>
        <p:spPr>
          <a:xfrm>
            <a:off x="0" y="560511"/>
            <a:ext cx="6858000" cy="9339131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195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60648" y="1208584"/>
            <a:ext cx="6336704" cy="2123369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 dirty="0"/>
              <a:t>Titel des Trainings/Meeting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0648" y="4088904"/>
            <a:ext cx="6336704" cy="2531533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, Trainername, Ort, 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owerPoint-Flipchart-Kreuzraster.pptx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pchart Kreuz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Kreuzraster">
            <a:extLst>
              <a:ext uri="{FF2B5EF4-FFF2-40B4-BE49-F238E27FC236}">
                <a16:creationId xmlns:a16="http://schemas.microsoft.com/office/drawing/2014/main" id="{074E4E33-9F9E-4AA0-85DD-03D98FCB1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485" b="-125"/>
          <a:stretch>
            <a:fillRect/>
          </a:stretch>
        </p:blipFill>
        <p:spPr>
          <a:xfrm>
            <a:off x="0" y="560511"/>
            <a:ext cx="6858000" cy="9339131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8641" y="2288703"/>
            <a:ext cx="6480720" cy="6684053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88640" y="687251"/>
            <a:ext cx="6480720" cy="113877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err="1"/>
              <a:t>Titeltext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de-D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567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Kreuzraster">
            <a:extLst>
              <a:ext uri="{FF2B5EF4-FFF2-40B4-BE49-F238E27FC236}">
                <a16:creationId xmlns:a16="http://schemas.microsoft.com/office/drawing/2014/main" id="{55B4856C-740C-081D-AC54-8FEA52DB67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5485" b="-125"/>
          <a:stretch>
            <a:fillRect/>
          </a:stretch>
        </p:blipFill>
        <p:spPr>
          <a:xfrm>
            <a:off x="0" y="560511"/>
            <a:ext cx="6858000" cy="9339131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8640" y="687251"/>
            <a:ext cx="6480720" cy="1138773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lvl="0" algn="l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8641" y="2288703"/>
            <a:ext cx="6480720" cy="6684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16632" y="9273480"/>
            <a:ext cx="16002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800" dirty="0">
                <a:solidFill>
                  <a:schemeClr val="bg1"/>
                </a:solidFill>
                <a:latin typeface="NeulandFontEuro" panose="00000400000000000000" pitchFamily="2" charset="0"/>
              </a:defRPr>
            </a:lvl1pPr>
          </a:lstStyle>
          <a:p>
            <a:pPr algn="r"/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6632" y="9653608"/>
            <a:ext cx="21717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DE" sz="800" smtClean="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r>
              <a:rPr lang="de-DE"/>
              <a:t>PowerPoint-Flipchart-Kreuzraster.pptx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381328" y="9628757"/>
            <a:ext cx="408233" cy="263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OT_PresentationProperties" hidden="1"/>
          <p:cNvSpPr txBox="1"/>
          <p:nvPr>
            <p:custDataLst>
              <p:tags r:id="rId4"/>
            </p:custDataLst>
          </p:nvPr>
        </p:nvSpPr>
        <p:spPr>
          <a:xfrm>
            <a:off x="0" y="0"/>
            <a:ext cx="1369286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800">
                <a:latin typeface="NeulandFontEuro" panose="00000400000000000000" pitchFamily="2" charset="0"/>
              </a:rPr>
              <a:t>OT_PresentationProperties</a:t>
            </a:r>
            <a:endParaRPr lang="de-DE" sz="800" dirty="0">
              <a:latin typeface="NeulandFontEuro" panose="00000400000000000000" pitchFamily="2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200" b="0" kern="1200" dirty="0">
          <a:solidFill>
            <a:schemeClr val="accent1"/>
          </a:solidFill>
          <a:effectLst/>
          <a:latin typeface="NeulandFontEuro" panose="00000400000000000000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Tx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2pPr>
      <a:lvl3pPr marL="450850" indent="-27305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—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3pPr>
      <a:lvl4pPr marL="6286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4pPr>
      <a:lvl5pPr marL="8064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›"/>
        <a:defRPr sz="2000" kern="1200" baseline="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5pPr>
      <a:lvl6pPr marL="9842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·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lipchart-Vorlage mit oder ohne Hintergrundras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reeform 18">
            <a:extLst>
              <a:ext uri="{FF2B5EF4-FFF2-40B4-BE49-F238E27FC236}">
                <a16:creationId xmlns:a16="http://schemas.microsoft.com/office/drawing/2014/main" id="{B1C90FA3-96C2-4B61-BF15-5213380AB7D0}"/>
              </a:ext>
            </a:extLst>
          </p:cNvPr>
          <p:cNvSpPr>
            <a:spLocks/>
          </p:cNvSpPr>
          <p:nvPr/>
        </p:nvSpPr>
        <p:spPr bwMode="gray">
          <a:xfrm rot="167541">
            <a:off x="425718" y="2722748"/>
            <a:ext cx="6006565" cy="500909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de-DE" dirty="0">
              <a:latin typeface="NeulandFontEuro"/>
              <a:sym typeface="NeulandFontEuro"/>
            </a:endParaRPr>
          </a:p>
        </p:txBody>
      </p:sp>
    </p:spTree>
    <p:extLst>
      <p:ext uri="{BB962C8B-B14F-4D97-AF65-F5344CB8AC3E}">
        <p14:creationId xmlns:p14="http://schemas.microsoft.com/office/powerpoint/2010/main" val="2619313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ließtext</a:t>
            </a:r>
          </a:p>
          <a:p>
            <a:pPr lvl="1"/>
            <a:r>
              <a:rPr lang="de-DE" dirty="0"/>
              <a:t>Aufzählungsebene</a:t>
            </a:r>
          </a:p>
          <a:p>
            <a:pPr lvl="2"/>
            <a:r>
              <a:rPr lang="de-DE" dirty="0"/>
              <a:t>2. Ebene</a:t>
            </a:r>
          </a:p>
          <a:p>
            <a:pPr lvl="3"/>
            <a:r>
              <a:rPr lang="de-DE" dirty="0"/>
              <a:t>3. Ebe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EFF57B-94D9-47F8-AD21-F381B890F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Freeform 18">
            <a:extLst>
              <a:ext uri="{FF2B5EF4-FFF2-40B4-BE49-F238E27FC236}">
                <a16:creationId xmlns:a16="http://schemas.microsoft.com/office/drawing/2014/main" id="{DE9A7FA2-D61B-B505-CB2E-320D765520BD}"/>
              </a:ext>
            </a:extLst>
          </p:cNvPr>
          <p:cNvSpPr>
            <a:spLocks/>
          </p:cNvSpPr>
          <p:nvPr/>
        </p:nvSpPr>
        <p:spPr bwMode="gray">
          <a:xfrm rot="167541">
            <a:off x="425718" y="1641783"/>
            <a:ext cx="6006565" cy="500909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de-DE" dirty="0">
              <a:latin typeface="NeulandFontEuro"/>
              <a:sym typeface="NeulandFontEuro"/>
            </a:endParaRPr>
          </a:p>
        </p:txBody>
      </p:sp>
    </p:spTree>
    <p:extLst>
      <p:ext uri="{BB962C8B-B14F-4D97-AF65-F5344CB8AC3E}">
        <p14:creationId xmlns:p14="http://schemas.microsoft.com/office/powerpoint/2010/main" val="9661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 descr="F:\Users\StBerger\Desktop\Farbpalette.png">
            <a:extLst>
              <a:ext uri="{FF2B5EF4-FFF2-40B4-BE49-F238E27FC236}">
                <a16:creationId xmlns:a16="http://schemas.microsoft.com/office/drawing/2014/main" id="{FBE35FE2-14AE-4B3E-9C3F-1BB17873A6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263"/>
          <a:stretch/>
        </p:blipFill>
        <p:spPr bwMode="auto">
          <a:xfrm>
            <a:off x="604813" y="6025354"/>
            <a:ext cx="5641752" cy="2283766"/>
          </a:xfrm>
          <a:custGeom>
            <a:avLst/>
            <a:gdLst>
              <a:gd name="connsiteX0" fmla="*/ 0 w 5641752"/>
              <a:gd name="connsiteY0" fmla="*/ 0 h 2283766"/>
              <a:gd name="connsiteX1" fmla="*/ 5641752 w 5641752"/>
              <a:gd name="connsiteY1" fmla="*/ 0 h 2283766"/>
              <a:gd name="connsiteX2" fmla="*/ 5641752 w 5641752"/>
              <a:gd name="connsiteY2" fmla="*/ 1933738 h 2283766"/>
              <a:gd name="connsiteX3" fmla="*/ 5503844 w 5641752"/>
              <a:gd name="connsiteY3" fmla="*/ 1858653 h 2283766"/>
              <a:gd name="connsiteX4" fmla="*/ 168587 w 5641752"/>
              <a:gd name="connsiteY4" fmla="*/ 2052308 h 2283766"/>
              <a:gd name="connsiteX5" fmla="*/ 0 w 5641752"/>
              <a:gd name="connsiteY5" fmla="*/ 1960519 h 2283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1752" h="2283766">
                <a:moveTo>
                  <a:pt x="0" y="0"/>
                </a:moveTo>
                <a:lnTo>
                  <a:pt x="5641752" y="0"/>
                </a:lnTo>
                <a:lnTo>
                  <a:pt x="5641752" y="1933738"/>
                </a:lnTo>
                <a:lnTo>
                  <a:pt x="5503844" y="1858653"/>
                </a:lnTo>
                <a:cubicBezTo>
                  <a:pt x="3725425" y="986165"/>
                  <a:pt x="1947006" y="2924794"/>
                  <a:pt x="168587" y="2052308"/>
                </a:cubicBezTo>
                <a:lnTo>
                  <a:pt x="0" y="196051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738028" y="6872212"/>
            <a:ext cx="422153" cy="42215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5" name="Rectangle 18"/>
          <p:cNvSpPr>
            <a:spLocks noChangeArrowheads="1"/>
          </p:cNvSpPr>
          <p:nvPr/>
        </p:nvSpPr>
        <p:spPr bwMode="auto">
          <a:xfrm>
            <a:off x="1288696" y="6872212"/>
            <a:ext cx="422153" cy="42215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auto">
          <a:xfrm>
            <a:off x="1839363" y="6872212"/>
            <a:ext cx="422153" cy="42215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2390031" y="6872212"/>
            <a:ext cx="422153" cy="4221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8" name="Rectangle 18"/>
          <p:cNvSpPr>
            <a:spLocks noChangeArrowheads="1"/>
          </p:cNvSpPr>
          <p:nvPr/>
        </p:nvSpPr>
        <p:spPr bwMode="auto">
          <a:xfrm>
            <a:off x="2940698" y="6872212"/>
            <a:ext cx="422153" cy="4221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9" name="Rectangle 18"/>
          <p:cNvSpPr>
            <a:spLocks noChangeArrowheads="1"/>
          </p:cNvSpPr>
          <p:nvPr/>
        </p:nvSpPr>
        <p:spPr bwMode="auto">
          <a:xfrm>
            <a:off x="3479967" y="6872212"/>
            <a:ext cx="422153" cy="42215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4042033" y="6872212"/>
            <a:ext cx="422153" cy="42215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1" name="Rectangle 18"/>
          <p:cNvSpPr>
            <a:spLocks noChangeArrowheads="1"/>
          </p:cNvSpPr>
          <p:nvPr/>
        </p:nvSpPr>
        <p:spPr bwMode="auto">
          <a:xfrm>
            <a:off x="4592701" y="6872212"/>
            <a:ext cx="422153" cy="42215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5143368" y="6872212"/>
            <a:ext cx="422153" cy="42215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5694033" y="6872212"/>
            <a:ext cx="422153" cy="422152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lipchart-Vorlage verwendet die Farben von Flipchart-Stift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3FFF309-7B43-4697-A594-9877CC163A2D}" type="slidenum">
              <a:rPr lang="de-DE" sz="800" smtClean="0"/>
              <a:pPr algn="r"/>
              <a:t>3</a:t>
            </a:fld>
            <a:endParaRPr lang="de-DE" sz="800" dirty="0"/>
          </a:p>
        </p:txBody>
      </p:sp>
      <p:pic>
        <p:nvPicPr>
          <p:cNvPr id="5122" name="Picture 2" descr="F:\Users\StBerger\Desktop\moderationsstifte.pn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119" y="3080792"/>
            <a:ext cx="2486025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Freeform 14"/>
          <p:cNvSpPr>
            <a:spLocks/>
          </p:cNvSpPr>
          <p:nvPr/>
        </p:nvSpPr>
        <p:spPr bwMode="gray">
          <a:xfrm rot="17479882">
            <a:off x="-166461" y="4820394"/>
            <a:ext cx="2285250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1" name="Freeform 14"/>
          <p:cNvSpPr>
            <a:spLocks/>
          </p:cNvSpPr>
          <p:nvPr/>
        </p:nvSpPr>
        <p:spPr bwMode="gray">
          <a:xfrm rot="4263821">
            <a:off x="4638767" y="4895763"/>
            <a:ext cx="2199198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283012" y="2603466"/>
            <a:ext cx="4071432" cy="2061502"/>
            <a:chOff x="692696" y="2360712"/>
            <a:chExt cx="4071432" cy="1656184"/>
          </a:xfrm>
          <a:solidFill>
            <a:schemeClr val="accent3"/>
          </a:solidFill>
        </p:grpSpPr>
        <p:sp>
          <p:nvSpPr>
            <p:cNvPr id="105" name="Freeform 2007"/>
            <p:cNvSpPr>
              <a:spLocks/>
            </p:cNvSpPr>
            <p:nvPr/>
          </p:nvSpPr>
          <p:spPr bwMode="auto">
            <a:xfrm>
              <a:off x="692696" y="2774760"/>
              <a:ext cx="920100" cy="874098"/>
            </a:xfrm>
            <a:custGeom>
              <a:avLst/>
              <a:gdLst/>
              <a:ahLst/>
              <a:cxnLst>
                <a:cxn ang="0">
                  <a:pos x="75" y="81"/>
                </a:cxn>
                <a:cxn ang="0">
                  <a:pos x="63" y="81"/>
                </a:cxn>
                <a:cxn ang="0">
                  <a:pos x="25" y="73"/>
                </a:cxn>
                <a:cxn ang="0">
                  <a:pos x="5" y="51"/>
                </a:cxn>
                <a:cxn ang="0">
                  <a:pos x="4" y="43"/>
                </a:cxn>
                <a:cxn ang="0">
                  <a:pos x="16" y="19"/>
                </a:cxn>
                <a:cxn ang="0">
                  <a:pos x="51" y="5"/>
                </a:cxn>
                <a:cxn ang="0">
                  <a:pos x="63" y="4"/>
                </a:cxn>
                <a:cxn ang="0">
                  <a:pos x="84" y="7"/>
                </a:cxn>
                <a:cxn ang="0">
                  <a:pos x="87" y="6"/>
                </a:cxn>
                <a:cxn ang="0">
                  <a:pos x="85" y="3"/>
                </a:cxn>
                <a:cxn ang="0">
                  <a:pos x="63" y="0"/>
                </a:cxn>
                <a:cxn ang="0">
                  <a:pos x="50" y="1"/>
                </a:cxn>
                <a:cxn ang="0">
                  <a:pos x="14" y="16"/>
                </a:cxn>
                <a:cxn ang="0">
                  <a:pos x="0" y="43"/>
                </a:cxn>
                <a:cxn ang="0">
                  <a:pos x="1" y="52"/>
                </a:cxn>
                <a:cxn ang="0">
                  <a:pos x="24" y="76"/>
                </a:cxn>
                <a:cxn ang="0">
                  <a:pos x="63" y="85"/>
                </a:cxn>
                <a:cxn ang="0">
                  <a:pos x="76" y="85"/>
                </a:cxn>
                <a:cxn ang="0">
                  <a:pos x="77" y="82"/>
                </a:cxn>
                <a:cxn ang="0">
                  <a:pos x="75" y="81"/>
                </a:cxn>
              </a:cxnLst>
              <a:rect l="0" t="0" r="r" b="b"/>
              <a:pathLst>
                <a:path w="87" h="85">
                  <a:moveTo>
                    <a:pt x="75" y="81"/>
                  </a:moveTo>
                  <a:cubicBezTo>
                    <a:pt x="71" y="81"/>
                    <a:pt x="67" y="81"/>
                    <a:pt x="63" y="81"/>
                  </a:cubicBezTo>
                  <a:cubicBezTo>
                    <a:pt x="49" y="81"/>
                    <a:pt x="36" y="78"/>
                    <a:pt x="25" y="73"/>
                  </a:cubicBezTo>
                  <a:cubicBezTo>
                    <a:pt x="15" y="67"/>
                    <a:pt x="8" y="60"/>
                    <a:pt x="5" y="51"/>
                  </a:cubicBezTo>
                  <a:cubicBezTo>
                    <a:pt x="4" y="48"/>
                    <a:pt x="4" y="45"/>
                    <a:pt x="4" y="43"/>
                  </a:cubicBezTo>
                  <a:cubicBezTo>
                    <a:pt x="4" y="34"/>
                    <a:pt x="8" y="26"/>
                    <a:pt x="16" y="19"/>
                  </a:cubicBezTo>
                  <a:cubicBezTo>
                    <a:pt x="25" y="12"/>
                    <a:pt x="36" y="7"/>
                    <a:pt x="51" y="5"/>
                  </a:cubicBezTo>
                  <a:cubicBezTo>
                    <a:pt x="55" y="5"/>
                    <a:pt x="59" y="4"/>
                    <a:pt x="63" y="4"/>
                  </a:cubicBezTo>
                  <a:cubicBezTo>
                    <a:pt x="70" y="4"/>
                    <a:pt x="77" y="5"/>
                    <a:pt x="84" y="7"/>
                  </a:cubicBezTo>
                  <a:cubicBezTo>
                    <a:pt x="85" y="7"/>
                    <a:pt x="87" y="7"/>
                    <a:pt x="87" y="6"/>
                  </a:cubicBezTo>
                  <a:cubicBezTo>
                    <a:pt x="87" y="5"/>
                    <a:pt x="86" y="4"/>
                    <a:pt x="85" y="3"/>
                  </a:cubicBezTo>
                  <a:cubicBezTo>
                    <a:pt x="78" y="1"/>
                    <a:pt x="70" y="0"/>
                    <a:pt x="63" y="0"/>
                  </a:cubicBezTo>
                  <a:cubicBezTo>
                    <a:pt x="59" y="0"/>
                    <a:pt x="54" y="1"/>
                    <a:pt x="50" y="1"/>
                  </a:cubicBezTo>
                  <a:cubicBezTo>
                    <a:pt x="35" y="3"/>
                    <a:pt x="23" y="9"/>
                    <a:pt x="14" y="16"/>
                  </a:cubicBezTo>
                  <a:cubicBezTo>
                    <a:pt x="5" y="23"/>
                    <a:pt x="0" y="33"/>
                    <a:pt x="0" y="43"/>
                  </a:cubicBezTo>
                  <a:cubicBezTo>
                    <a:pt x="0" y="46"/>
                    <a:pt x="0" y="49"/>
                    <a:pt x="1" y="52"/>
                  </a:cubicBezTo>
                  <a:cubicBezTo>
                    <a:pt x="4" y="62"/>
                    <a:pt x="13" y="70"/>
                    <a:pt x="24" y="76"/>
                  </a:cubicBezTo>
                  <a:cubicBezTo>
                    <a:pt x="35" y="82"/>
                    <a:pt x="48" y="85"/>
                    <a:pt x="63" y="85"/>
                  </a:cubicBezTo>
                  <a:cubicBezTo>
                    <a:pt x="67" y="85"/>
                    <a:pt x="71" y="85"/>
                    <a:pt x="76" y="85"/>
                  </a:cubicBezTo>
                  <a:cubicBezTo>
                    <a:pt x="77" y="84"/>
                    <a:pt x="77" y="83"/>
                    <a:pt x="77" y="82"/>
                  </a:cubicBezTo>
                  <a:cubicBezTo>
                    <a:pt x="77" y="81"/>
                    <a:pt x="76" y="80"/>
                    <a:pt x="75" y="8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2008"/>
            <p:cNvSpPr>
              <a:spLocks/>
            </p:cNvSpPr>
            <p:nvPr/>
          </p:nvSpPr>
          <p:spPr bwMode="auto">
            <a:xfrm>
              <a:off x="1405769" y="2544734"/>
              <a:ext cx="920100" cy="276028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22" y="10"/>
                </a:cxn>
                <a:cxn ang="0">
                  <a:pos x="50" y="4"/>
                </a:cxn>
                <a:cxn ang="0">
                  <a:pos x="69" y="6"/>
                </a:cxn>
                <a:cxn ang="0">
                  <a:pos x="82" y="12"/>
                </a:cxn>
                <a:cxn ang="0">
                  <a:pos x="85" y="11"/>
                </a:cxn>
                <a:cxn ang="0">
                  <a:pos x="84" y="8"/>
                </a:cxn>
                <a:cxn ang="0">
                  <a:pos x="70" y="3"/>
                </a:cxn>
                <a:cxn ang="0">
                  <a:pos x="50" y="0"/>
                </a:cxn>
                <a:cxn ang="0">
                  <a:pos x="21" y="6"/>
                </a:cxn>
                <a:cxn ang="0">
                  <a:pos x="0" y="23"/>
                </a:cxn>
                <a:cxn ang="0">
                  <a:pos x="1" y="25"/>
                </a:cxn>
                <a:cxn ang="0">
                  <a:pos x="4" y="25"/>
                </a:cxn>
              </a:cxnLst>
              <a:rect l="0" t="0" r="r" b="b"/>
              <a:pathLst>
                <a:path w="86" h="26">
                  <a:moveTo>
                    <a:pt x="4" y="25"/>
                  </a:moveTo>
                  <a:cubicBezTo>
                    <a:pt x="8" y="18"/>
                    <a:pt x="14" y="13"/>
                    <a:pt x="22" y="10"/>
                  </a:cubicBezTo>
                  <a:cubicBezTo>
                    <a:pt x="31" y="6"/>
                    <a:pt x="40" y="4"/>
                    <a:pt x="50" y="4"/>
                  </a:cubicBezTo>
                  <a:cubicBezTo>
                    <a:pt x="57" y="4"/>
                    <a:pt x="63" y="5"/>
                    <a:pt x="69" y="6"/>
                  </a:cubicBezTo>
                  <a:cubicBezTo>
                    <a:pt x="74" y="8"/>
                    <a:pt x="78" y="9"/>
                    <a:pt x="82" y="12"/>
                  </a:cubicBezTo>
                  <a:cubicBezTo>
                    <a:pt x="83" y="12"/>
                    <a:pt x="84" y="12"/>
                    <a:pt x="85" y="11"/>
                  </a:cubicBezTo>
                  <a:cubicBezTo>
                    <a:pt x="86" y="10"/>
                    <a:pt x="85" y="9"/>
                    <a:pt x="84" y="8"/>
                  </a:cubicBezTo>
                  <a:cubicBezTo>
                    <a:pt x="80" y="6"/>
                    <a:pt x="75" y="4"/>
                    <a:pt x="70" y="3"/>
                  </a:cubicBezTo>
                  <a:cubicBezTo>
                    <a:pt x="64" y="1"/>
                    <a:pt x="57" y="0"/>
                    <a:pt x="50" y="0"/>
                  </a:cubicBezTo>
                  <a:cubicBezTo>
                    <a:pt x="40" y="0"/>
                    <a:pt x="30" y="2"/>
                    <a:pt x="21" y="6"/>
                  </a:cubicBezTo>
                  <a:cubicBezTo>
                    <a:pt x="12" y="10"/>
                    <a:pt x="5" y="15"/>
                    <a:pt x="0" y="23"/>
                  </a:cubicBezTo>
                  <a:cubicBezTo>
                    <a:pt x="0" y="24"/>
                    <a:pt x="0" y="25"/>
                    <a:pt x="1" y="25"/>
                  </a:cubicBezTo>
                  <a:cubicBezTo>
                    <a:pt x="2" y="26"/>
                    <a:pt x="3" y="26"/>
                    <a:pt x="4" y="25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Freeform 2009"/>
            <p:cNvSpPr>
              <a:spLocks/>
            </p:cNvSpPr>
            <p:nvPr/>
          </p:nvSpPr>
          <p:spPr bwMode="auto">
            <a:xfrm>
              <a:off x="2233858" y="2360712"/>
              <a:ext cx="1426153" cy="552061"/>
            </a:xfrm>
            <a:custGeom>
              <a:avLst/>
              <a:gdLst/>
              <a:ahLst/>
              <a:cxnLst>
                <a:cxn ang="0">
                  <a:pos x="4" y="41"/>
                </a:cxn>
                <a:cxn ang="0">
                  <a:pos x="24" y="15"/>
                </a:cxn>
                <a:cxn ang="0">
                  <a:pos x="67" y="4"/>
                </a:cxn>
                <a:cxn ang="0">
                  <a:pos x="73" y="4"/>
                </a:cxn>
                <a:cxn ang="0">
                  <a:pos x="115" y="18"/>
                </a:cxn>
                <a:cxn ang="0">
                  <a:pos x="131" y="45"/>
                </a:cxn>
                <a:cxn ang="0">
                  <a:pos x="131" y="49"/>
                </a:cxn>
                <a:cxn ang="0">
                  <a:pos x="131" y="49"/>
                </a:cxn>
                <a:cxn ang="0">
                  <a:pos x="130" y="51"/>
                </a:cxn>
                <a:cxn ang="0">
                  <a:pos x="132" y="53"/>
                </a:cxn>
                <a:cxn ang="0">
                  <a:pos x="134" y="52"/>
                </a:cxn>
                <a:cxn ang="0">
                  <a:pos x="134" y="50"/>
                </a:cxn>
                <a:cxn ang="0">
                  <a:pos x="134" y="50"/>
                </a:cxn>
                <a:cxn ang="0">
                  <a:pos x="135" y="45"/>
                </a:cxn>
                <a:cxn ang="0">
                  <a:pos x="117" y="14"/>
                </a:cxn>
                <a:cxn ang="0">
                  <a:pos x="74" y="0"/>
                </a:cxn>
                <a:cxn ang="0">
                  <a:pos x="67" y="0"/>
                </a:cxn>
                <a:cxn ang="0">
                  <a:pos x="22" y="11"/>
                </a:cxn>
                <a:cxn ang="0">
                  <a:pos x="0" y="41"/>
                </a:cxn>
                <a:cxn ang="0">
                  <a:pos x="1" y="43"/>
                </a:cxn>
                <a:cxn ang="0">
                  <a:pos x="4" y="41"/>
                </a:cxn>
              </a:cxnLst>
              <a:rect l="0" t="0" r="r" b="b"/>
              <a:pathLst>
                <a:path w="135" h="53">
                  <a:moveTo>
                    <a:pt x="4" y="41"/>
                  </a:moveTo>
                  <a:cubicBezTo>
                    <a:pt x="5" y="31"/>
                    <a:pt x="13" y="21"/>
                    <a:pt x="24" y="15"/>
                  </a:cubicBezTo>
                  <a:cubicBezTo>
                    <a:pt x="35" y="8"/>
                    <a:pt x="51" y="4"/>
                    <a:pt x="67" y="4"/>
                  </a:cubicBezTo>
                  <a:cubicBezTo>
                    <a:pt x="69" y="4"/>
                    <a:pt x="71" y="4"/>
                    <a:pt x="73" y="4"/>
                  </a:cubicBezTo>
                  <a:cubicBezTo>
                    <a:pt x="90" y="5"/>
                    <a:pt x="104" y="10"/>
                    <a:pt x="115" y="18"/>
                  </a:cubicBezTo>
                  <a:cubicBezTo>
                    <a:pt x="125" y="25"/>
                    <a:pt x="131" y="35"/>
                    <a:pt x="131" y="45"/>
                  </a:cubicBezTo>
                  <a:cubicBezTo>
                    <a:pt x="131" y="47"/>
                    <a:pt x="131" y="48"/>
                    <a:pt x="131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0" y="50"/>
                    <a:pt x="130" y="50"/>
                    <a:pt x="130" y="51"/>
                  </a:cubicBezTo>
                  <a:cubicBezTo>
                    <a:pt x="130" y="52"/>
                    <a:pt x="131" y="53"/>
                    <a:pt x="132" y="53"/>
                  </a:cubicBezTo>
                  <a:cubicBezTo>
                    <a:pt x="133" y="53"/>
                    <a:pt x="134" y="53"/>
                    <a:pt x="134" y="52"/>
                  </a:cubicBezTo>
                  <a:cubicBezTo>
                    <a:pt x="134" y="51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5" y="48"/>
                    <a:pt x="135" y="47"/>
                    <a:pt x="135" y="45"/>
                  </a:cubicBezTo>
                  <a:cubicBezTo>
                    <a:pt x="135" y="33"/>
                    <a:pt x="128" y="22"/>
                    <a:pt x="117" y="14"/>
                  </a:cubicBezTo>
                  <a:cubicBezTo>
                    <a:pt x="106" y="6"/>
                    <a:pt x="91" y="1"/>
                    <a:pt x="74" y="0"/>
                  </a:cubicBezTo>
                  <a:cubicBezTo>
                    <a:pt x="71" y="0"/>
                    <a:pt x="69" y="0"/>
                    <a:pt x="67" y="0"/>
                  </a:cubicBezTo>
                  <a:cubicBezTo>
                    <a:pt x="50" y="0"/>
                    <a:pt x="34" y="4"/>
                    <a:pt x="22" y="11"/>
                  </a:cubicBezTo>
                  <a:cubicBezTo>
                    <a:pt x="10" y="18"/>
                    <a:pt x="1" y="29"/>
                    <a:pt x="0" y="41"/>
                  </a:cubicBezTo>
                  <a:cubicBezTo>
                    <a:pt x="0" y="42"/>
                    <a:pt x="0" y="43"/>
                    <a:pt x="1" y="43"/>
                  </a:cubicBezTo>
                  <a:cubicBezTo>
                    <a:pt x="2" y="43"/>
                    <a:pt x="4" y="42"/>
                    <a:pt x="4" y="4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Freeform 2010"/>
            <p:cNvSpPr>
              <a:spLocks/>
            </p:cNvSpPr>
            <p:nvPr/>
          </p:nvSpPr>
          <p:spPr bwMode="auto">
            <a:xfrm>
              <a:off x="3521998" y="2521724"/>
              <a:ext cx="759088" cy="414048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3" y="4"/>
                </a:cxn>
                <a:cxn ang="0">
                  <a:pos x="64" y="20"/>
                </a:cxn>
                <a:cxn ang="0">
                  <a:pos x="68" y="33"/>
                </a:cxn>
                <a:cxn ang="0">
                  <a:pos x="68" y="39"/>
                </a:cxn>
                <a:cxn ang="0">
                  <a:pos x="69" y="41"/>
                </a:cxn>
                <a:cxn ang="0">
                  <a:pos x="72" y="40"/>
                </a:cxn>
                <a:cxn ang="0">
                  <a:pos x="72" y="33"/>
                </a:cxn>
                <a:cxn ang="0">
                  <a:pos x="67" y="18"/>
                </a:cxn>
                <a:cxn ang="0">
                  <a:pos x="23" y="0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2" y="7"/>
                </a:cxn>
              </a:cxnLst>
              <a:rect l="0" t="0" r="r" b="b"/>
              <a:pathLst>
                <a:path w="72" h="41">
                  <a:moveTo>
                    <a:pt x="2" y="7"/>
                  </a:moveTo>
                  <a:cubicBezTo>
                    <a:pt x="9" y="5"/>
                    <a:pt x="16" y="4"/>
                    <a:pt x="23" y="4"/>
                  </a:cubicBezTo>
                  <a:cubicBezTo>
                    <a:pt x="40" y="4"/>
                    <a:pt x="56" y="10"/>
                    <a:pt x="64" y="20"/>
                  </a:cubicBezTo>
                  <a:cubicBezTo>
                    <a:pt x="67" y="25"/>
                    <a:pt x="68" y="29"/>
                    <a:pt x="68" y="33"/>
                  </a:cubicBezTo>
                  <a:cubicBezTo>
                    <a:pt x="68" y="35"/>
                    <a:pt x="68" y="37"/>
                    <a:pt x="68" y="39"/>
                  </a:cubicBezTo>
                  <a:cubicBezTo>
                    <a:pt x="67" y="40"/>
                    <a:pt x="68" y="41"/>
                    <a:pt x="69" y="41"/>
                  </a:cubicBezTo>
                  <a:cubicBezTo>
                    <a:pt x="70" y="41"/>
                    <a:pt x="71" y="41"/>
                    <a:pt x="72" y="40"/>
                  </a:cubicBezTo>
                  <a:cubicBezTo>
                    <a:pt x="72" y="38"/>
                    <a:pt x="72" y="35"/>
                    <a:pt x="72" y="33"/>
                  </a:cubicBezTo>
                  <a:cubicBezTo>
                    <a:pt x="72" y="28"/>
                    <a:pt x="71" y="23"/>
                    <a:pt x="67" y="18"/>
                  </a:cubicBezTo>
                  <a:cubicBezTo>
                    <a:pt x="58" y="6"/>
                    <a:pt x="41" y="0"/>
                    <a:pt x="23" y="0"/>
                  </a:cubicBezTo>
                  <a:cubicBezTo>
                    <a:pt x="16" y="0"/>
                    <a:pt x="8" y="1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7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Freeform 2011"/>
            <p:cNvSpPr>
              <a:spLocks/>
            </p:cNvSpPr>
            <p:nvPr/>
          </p:nvSpPr>
          <p:spPr bwMode="auto">
            <a:xfrm>
              <a:off x="3798025" y="2889763"/>
              <a:ext cx="966103" cy="966103"/>
            </a:xfrm>
            <a:custGeom>
              <a:avLst/>
              <a:gdLst/>
              <a:ahLst/>
              <a:cxnLst>
                <a:cxn ang="0">
                  <a:pos x="32" y="4"/>
                </a:cxn>
                <a:cxn ang="0">
                  <a:pos x="72" y="18"/>
                </a:cxn>
                <a:cxn ang="0">
                  <a:pos x="87" y="45"/>
                </a:cxn>
                <a:cxn ang="0">
                  <a:pos x="87" y="51"/>
                </a:cxn>
                <a:cxn ang="0">
                  <a:pos x="66" y="76"/>
                </a:cxn>
                <a:cxn ang="0">
                  <a:pos x="24" y="87"/>
                </a:cxn>
                <a:cxn ang="0">
                  <a:pos x="15" y="86"/>
                </a:cxn>
                <a:cxn ang="0">
                  <a:pos x="2" y="84"/>
                </a:cxn>
                <a:cxn ang="0">
                  <a:pos x="0" y="86"/>
                </a:cxn>
                <a:cxn ang="0">
                  <a:pos x="2" y="88"/>
                </a:cxn>
                <a:cxn ang="0">
                  <a:pos x="15" y="90"/>
                </a:cxn>
                <a:cxn ang="0">
                  <a:pos x="24" y="91"/>
                </a:cxn>
                <a:cxn ang="0">
                  <a:pos x="68" y="80"/>
                </a:cxn>
                <a:cxn ang="0">
                  <a:pos x="91" y="51"/>
                </a:cxn>
                <a:cxn ang="0">
                  <a:pos x="91" y="45"/>
                </a:cxn>
                <a:cxn ang="0">
                  <a:pos x="74" y="15"/>
                </a:cxn>
                <a:cxn ang="0">
                  <a:pos x="32" y="0"/>
                </a:cxn>
                <a:cxn ang="0">
                  <a:pos x="30" y="2"/>
                </a:cxn>
                <a:cxn ang="0">
                  <a:pos x="32" y="4"/>
                </a:cxn>
              </a:cxnLst>
              <a:rect l="0" t="0" r="r" b="b"/>
              <a:pathLst>
                <a:path w="91" h="91">
                  <a:moveTo>
                    <a:pt x="32" y="4"/>
                  </a:moveTo>
                  <a:cubicBezTo>
                    <a:pt x="48" y="5"/>
                    <a:pt x="62" y="11"/>
                    <a:pt x="72" y="18"/>
                  </a:cubicBezTo>
                  <a:cubicBezTo>
                    <a:pt x="82" y="26"/>
                    <a:pt x="87" y="35"/>
                    <a:pt x="87" y="45"/>
                  </a:cubicBezTo>
                  <a:cubicBezTo>
                    <a:pt x="87" y="47"/>
                    <a:pt x="87" y="49"/>
                    <a:pt x="87" y="51"/>
                  </a:cubicBezTo>
                  <a:cubicBezTo>
                    <a:pt x="85" y="61"/>
                    <a:pt x="77" y="70"/>
                    <a:pt x="66" y="76"/>
                  </a:cubicBezTo>
                  <a:cubicBezTo>
                    <a:pt x="54" y="83"/>
                    <a:pt x="40" y="87"/>
                    <a:pt x="24" y="87"/>
                  </a:cubicBezTo>
                  <a:cubicBezTo>
                    <a:pt x="21" y="87"/>
                    <a:pt x="18" y="87"/>
                    <a:pt x="15" y="86"/>
                  </a:cubicBezTo>
                  <a:cubicBezTo>
                    <a:pt x="11" y="86"/>
                    <a:pt x="7" y="85"/>
                    <a:pt x="2" y="84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6" y="89"/>
                    <a:pt x="10" y="90"/>
                    <a:pt x="15" y="90"/>
                  </a:cubicBezTo>
                  <a:cubicBezTo>
                    <a:pt x="18" y="91"/>
                    <a:pt x="21" y="91"/>
                    <a:pt x="24" y="91"/>
                  </a:cubicBezTo>
                  <a:cubicBezTo>
                    <a:pt x="40" y="91"/>
                    <a:pt x="56" y="87"/>
                    <a:pt x="68" y="80"/>
                  </a:cubicBezTo>
                  <a:cubicBezTo>
                    <a:pt x="80" y="73"/>
                    <a:pt x="88" y="63"/>
                    <a:pt x="91" y="51"/>
                  </a:cubicBezTo>
                  <a:cubicBezTo>
                    <a:pt x="91" y="49"/>
                    <a:pt x="91" y="47"/>
                    <a:pt x="91" y="45"/>
                  </a:cubicBezTo>
                  <a:cubicBezTo>
                    <a:pt x="91" y="34"/>
                    <a:pt x="85" y="23"/>
                    <a:pt x="74" y="15"/>
                  </a:cubicBezTo>
                  <a:cubicBezTo>
                    <a:pt x="64" y="7"/>
                    <a:pt x="49" y="2"/>
                    <a:pt x="32" y="0"/>
                  </a:cubicBezTo>
                  <a:cubicBezTo>
                    <a:pt x="31" y="0"/>
                    <a:pt x="30" y="1"/>
                    <a:pt x="30" y="2"/>
                  </a:cubicBezTo>
                  <a:cubicBezTo>
                    <a:pt x="30" y="3"/>
                    <a:pt x="31" y="4"/>
                    <a:pt x="32" y="4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Freeform 2012"/>
            <p:cNvSpPr>
              <a:spLocks/>
            </p:cNvSpPr>
            <p:nvPr/>
          </p:nvSpPr>
          <p:spPr bwMode="auto">
            <a:xfrm>
              <a:off x="2532896" y="3668860"/>
              <a:ext cx="1368646" cy="276028"/>
            </a:xfrm>
            <a:custGeom>
              <a:avLst/>
              <a:gdLst/>
              <a:ahLst/>
              <a:cxnLst>
                <a:cxn ang="0">
                  <a:pos x="107" y="1"/>
                </a:cxn>
                <a:cxn ang="0">
                  <a:pos x="55" y="22"/>
                </a:cxn>
                <a:cxn ang="0">
                  <a:pos x="26" y="17"/>
                </a:cxn>
                <a:cxn ang="0">
                  <a:pos x="4" y="2"/>
                </a:cxn>
                <a:cxn ang="0">
                  <a:pos x="1" y="2"/>
                </a:cxn>
                <a:cxn ang="0">
                  <a:pos x="1" y="5"/>
                </a:cxn>
                <a:cxn ang="0">
                  <a:pos x="25" y="21"/>
                </a:cxn>
                <a:cxn ang="0">
                  <a:pos x="55" y="26"/>
                </a:cxn>
                <a:cxn ang="0">
                  <a:pos x="110" y="4"/>
                </a:cxn>
                <a:cxn ang="0">
                  <a:pos x="110" y="1"/>
                </a:cxn>
                <a:cxn ang="0">
                  <a:pos x="107" y="1"/>
                </a:cxn>
              </a:cxnLst>
              <a:rect l="0" t="0" r="r" b="b"/>
              <a:pathLst>
                <a:path w="111" h="26">
                  <a:moveTo>
                    <a:pt x="107" y="1"/>
                  </a:moveTo>
                  <a:cubicBezTo>
                    <a:pt x="96" y="14"/>
                    <a:pt x="76" y="22"/>
                    <a:pt x="55" y="22"/>
                  </a:cubicBezTo>
                  <a:cubicBezTo>
                    <a:pt x="45" y="22"/>
                    <a:pt x="35" y="20"/>
                    <a:pt x="26" y="17"/>
                  </a:cubicBezTo>
                  <a:cubicBezTo>
                    <a:pt x="17" y="13"/>
                    <a:pt x="9" y="8"/>
                    <a:pt x="4" y="2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6" y="11"/>
                    <a:pt x="15" y="17"/>
                    <a:pt x="25" y="21"/>
                  </a:cubicBezTo>
                  <a:cubicBezTo>
                    <a:pt x="34" y="24"/>
                    <a:pt x="45" y="26"/>
                    <a:pt x="55" y="26"/>
                  </a:cubicBezTo>
                  <a:cubicBezTo>
                    <a:pt x="77" y="26"/>
                    <a:pt x="98" y="18"/>
                    <a:pt x="110" y="4"/>
                  </a:cubicBezTo>
                  <a:cubicBezTo>
                    <a:pt x="111" y="3"/>
                    <a:pt x="110" y="2"/>
                    <a:pt x="110" y="1"/>
                  </a:cubicBezTo>
                  <a:cubicBezTo>
                    <a:pt x="109" y="0"/>
                    <a:pt x="108" y="0"/>
                    <a:pt x="107" y="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Freeform 2013"/>
            <p:cNvSpPr>
              <a:spLocks/>
            </p:cNvSpPr>
            <p:nvPr/>
          </p:nvSpPr>
          <p:spPr bwMode="auto">
            <a:xfrm>
              <a:off x="1474782" y="3533835"/>
              <a:ext cx="1104117" cy="483061"/>
            </a:xfrm>
            <a:custGeom>
              <a:avLst/>
              <a:gdLst/>
              <a:ahLst/>
              <a:cxnLst>
                <a:cxn ang="0">
                  <a:pos x="100" y="8"/>
                </a:cxn>
                <a:cxn ang="0">
                  <a:pos x="100" y="9"/>
                </a:cxn>
                <a:cxn ang="0">
                  <a:pos x="87" y="31"/>
                </a:cxn>
                <a:cxn ang="0">
                  <a:pos x="54" y="42"/>
                </a:cxn>
                <a:cxn ang="0">
                  <a:pos x="52" y="42"/>
                </a:cxn>
                <a:cxn ang="0">
                  <a:pos x="18" y="32"/>
                </a:cxn>
                <a:cxn ang="0">
                  <a:pos x="4" y="10"/>
                </a:cxn>
                <a:cxn ang="0">
                  <a:pos x="4" y="9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1" y="1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16" y="36"/>
                </a:cxn>
                <a:cxn ang="0">
                  <a:pos x="52" y="46"/>
                </a:cxn>
                <a:cxn ang="0">
                  <a:pos x="54" y="46"/>
                </a:cxn>
                <a:cxn ang="0">
                  <a:pos x="89" y="35"/>
                </a:cxn>
                <a:cxn ang="0">
                  <a:pos x="104" y="9"/>
                </a:cxn>
                <a:cxn ang="0">
                  <a:pos x="104" y="8"/>
                </a:cxn>
                <a:cxn ang="0">
                  <a:pos x="102" y="6"/>
                </a:cxn>
                <a:cxn ang="0">
                  <a:pos x="100" y="8"/>
                </a:cxn>
              </a:cxnLst>
              <a:rect l="0" t="0" r="r" b="b"/>
              <a:pathLst>
                <a:path w="104" h="46">
                  <a:moveTo>
                    <a:pt x="100" y="8"/>
                  </a:moveTo>
                  <a:cubicBezTo>
                    <a:pt x="100" y="9"/>
                    <a:pt x="100" y="9"/>
                    <a:pt x="100" y="9"/>
                  </a:cubicBezTo>
                  <a:cubicBezTo>
                    <a:pt x="100" y="18"/>
                    <a:pt x="96" y="26"/>
                    <a:pt x="87" y="31"/>
                  </a:cubicBezTo>
                  <a:cubicBezTo>
                    <a:pt x="79" y="37"/>
                    <a:pt x="67" y="41"/>
                    <a:pt x="54" y="42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9" y="42"/>
                    <a:pt x="27" y="38"/>
                    <a:pt x="18" y="32"/>
                  </a:cubicBezTo>
                  <a:cubicBezTo>
                    <a:pt x="9" y="26"/>
                    <a:pt x="4" y="19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7"/>
                    <a:pt x="4" y="5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20"/>
                    <a:pt x="6" y="29"/>
                    <a:pt x="16" y="36"/>
                  </a:cubicBezTo>
                  <a:cubicBezTo>
                    <a:pt x="25" y="42"/>
                    <a:pt x="38" y="46"/>
                    <a:pt x="52" y="46"/>
                  </a:cubicBezTo>
                  <a:cubicBezTo>
                    <a:pt x="53" y="46"/>
                    <a:pt x="53" y="46"/>
                    <a:pt x="54" y="46"/>
                  </a:cubicBezTo>
                  <a:cubicBezTo>
                    <a:pt x="68" y="45"/>
                    <a:pt x="80" y="41"/>
                    <a:pt x="89" y="35"/>
                  </a:cubicBezTo>
                  <a:cubicBezTo>
                    <a:pt x="99" y="28"/>
                    <a:pt x="104" y="19"/>
                    <a:pt x="104" y="9"/>
                  </a:cubicBezTo>
                  <a:cubicBezTo>
                    <a:pt x="104" y="9"/>
                    <a:pt x="104" y="8"/>
                    <a:pt x="104" y="8"/>
                  </a:cubicBezTo>
                  <a:cubicBezTo>
                    <a:pt x="104" y="7"/>
                    <a:pt x="103" y="6"/>
                    <a:pt x="102" y="6"/>
                  </a:cubicBezTo>
                  <a:cubicBezTo>
                    <a:pt x="101" y="6"/>
                    <a:pt x="100" y="7"/>
                    <a:pt x="100" y="8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32656" y="8625408"/>
            <a:ext cx="61926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NeulandFontEuro" panose="00000400000000000000" pitchFamily="2" charset="0"/>
              </a:rPr>
              <a:t>In der Vorlage wird die kostenlose Standardschrift NeulandFontEuro verwendet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EABBA55-7961-4A97-8A22-B50DD168CDA3}"/>
              </a:ext>
            </a:extLst>
          </p:cNvPr>
          <p:cNvGrpSpPr/>
          <p:nvPr/>
        </p:nvGrpSpPr>
        <p:grpSpPr>
          <a:xfrm rot="10800000">
            <a:off x="3312058" y="1767379"/>
            <a:ext cx="536797" cy="759677"/>
            <a:chOff x="8618861" y="3254911"/>
            <a:chExt cx="403713" cy="572784"/>
          </a:xfrm>
        </p:grpSpPr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128F8DF9-341D-4AC5-91D0-949E8F91BB6B}"/>
                </a:ext>
              </a:extLst>
            </p:cNvPr>
            <p:cNvSpPr>
              <a:spLocks/>
            </p:cNvSpPr>
            <p:nvPr/>
          </p:nvSpPr>
          <p:spPr bwMode="gray">
            <a:xfrm rot="4080801" flipH="1">
              <a:off x="8501472" y="3430906"/>
              <a:ext cx="514178" cy="27940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EE4B1CC-58F1-4BB0-AAC1-C09B40D99C51}"/>
                </a:ext>
              </a:extLst>
            </p:cNvPr>
            <p:cNvGrpSpPr/>
            <p:nvPr/>
          </p:nvGrpSpPr>
          <p:grpSpPr>
            <a:xfrm>
              <a:off x="8635894" y="3254911"/>
              <a:ext cx="386680" cy="422735"/>
              <a:chOff x="739912" y="2595921"/>
              <a:chExt cx="386680" cy="422735"/>
            </a:xfrm>
            <a:solidFill>
              <a:schemeClr val="tx2"/>
            </a:solidFill>
          </p:grpSpPr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CBF66F89-F032-4101-BF71-1E8F1F5868E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567887" y="2767946"/>
                <a:ext cx="422735" cy="78686"/>
              </a:xfrm>
              <a:custGeom>
                <a:avLst/>
                <a:gdLst>
                  <a:gd name="T0" fmla="*/ 0 w 642"/>
                  <a:gd name="T1" fmla="*/ 36 h 51"/>
                  <a:gd name="T2" fmla="*/ 77 w 642"/>
                  <a:gd name="T3" fmla="*/ 51 h 51"/>
                  <a:gd name="T4" fmla="*/ 642 w 642"/>
                  <a:gd name="T5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2" h="51">
                    <a:moveTo>
                      <a:pt x="0" y="36"/>
                    </a:moveTo>
                    <a:cubicBezTo>
                      <a:pt x="25" y="41"/>
                      <a:pt x="51" y="51"/>
                      <a:pt x="77" y="51"/>
                    </a:cubicBezTo>
                    <a:cubicBezTo>
                      <a:pt x="258" y="51"/>
                      <a:pt x="487" y="0"/>
                      <a:pt x="642" y="4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  <p:sp>
            <p:nvSpPr>
              <p:cNvPr id="45" name="Freeform 45">
                <a:extLst>
                  <a:ext uri="{FF2B5EF4-FFF2-40B4-BE49-F238E27FC236}">
                    <a16:creationId xmlns:a16="http://schemas.microsoft.com/office/drawing/2014/main" id="{AAB56B5A-65EC-4217-934A-2A9677D46D09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856717" y="2614417"/>
                <a:ext cx="244475" cy="295275"/>
              </a:xfrm>
              <a:custGeom>
                <a:avLst/>
                <a:gdLst>
                  <a:gd name="T0" fmla="*/ 171 w 233"/>
                  <a:gd name="T1" fmla="*/ 0 h 283"/>
                  <a:gd name="T2" fmla="*/ 0 w 233"/>
                  <a:gd name="T3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3" h="283">
                    <a:moveTo>
                      <a:pt x="171" y="0"/>
                    </a:moveTo>
                    <a:cubicBezTo>
                      <a:pt x="233" y="45"/>
                      <a:pt x="29" y="236"/>
                      <a:pt x="0" y="28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40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_PROPERTIESTAG" val="&lt;?xml version=&quot;1.0&quot; encoding=&quot;utf-8&quot;?&gt;&lt;Properties&gt;&lt;Version&gt;0.0.16&lt;/Version&gt;&lt;ToolsActivated&gt;True&lt;/ToolsActivated&gt;&lt;PropertiesVisible&gt;True&lt;/PropertiesVisible&gt;&lt;GUI&gt;&lt;Language&gt;&lt;Ribbon&gt;German&lt;/Ribbon&gt;&lt;TooTips&gt;English&lt;/TooTips&gt;&lt;/Language&gt;&lt;/GUI&gt;&lt;PowerPoint&gt;&lt;Footer&gt;&lt;FileNameFooter&gt;True&lt;/FileNameFooter&gt;&lt;UpdateCopyright&gt;False&lt;/UpdateCopyright&gt;&lt;UseDateTimeFieldForCopyright&gt;False&lt;/UseDateTimeFieldForCopyright&gt;&lt;UseFooterFieldSaveFileName&gt;True&lt;/UseFooterFieldSaveFileName&gt;&lt;/Footer&gt;&lt;Print&gt;&lt;CurrentSlide&gt;True&lt;/CurrentSlide&gt;&lt;ScaleFitPaper&gt;True&lt;/ScaleFitPaper&gt;&lt;HiddenSlides&gt;False&lt;/HiddenSlides&gt;&lt;/Print&gt;&lt;SlideShowHideFooter&gt;True&lt;/SlideShowHideFooter&gt;&lt;ProtectFooter&gt;True&lt;/ProtectFooter&gt;&lt;/PowerPoint&gt;&lt;Presentation&gt;&lt;Agenda&gt;&lt;Font&gt;&lt;Bullets&gt;False&lt;/Bullets&gt;&lt;/Font&gt;&lt;HighlightFont&gt;&lt;Bold&gt;False&lt;/Bold&gt;&lt;/HighlightFont&gt;&lt;Colors&gt;&lt;Background themeColor=&quot;False&quot;&gt;No Fill&lt;/Background&gt;&lt;Highlight themeColor=&quot;True&quot;&gt;Accent 6&lt;/Highlight&gt;&lt;TextNormal themeColor=&quot;True&quot;&gt;Accent 1&lt;/TextNormal&gt;&lt;TextHighlight themeColor=&quot;True&quot;&gt;Text 1&lt;/TextHighlight&gt;&lt;/Colors&gt;&lt;Numbering&gt;False&lt;/Numbering&gt;&lt;/Agenda&gt;&lt;Arrows&gt;&lt;Colors&gt;&lt;Fill themeColor=&quot;True&quot;&gt;Accent 5&lt;/Fill&gt;&lt;/Colors&gt;&lt;Border drawBorder=&quot;False&quot; /&gt;&lt;/Arrows&gt;&lt;Emphasize&gt;&lt;Colors&gt;&lt;Background themeColor=&quot;True&quot;&gt;Accent 3&lt;/Background&gt;&lt;Line themeColor=&quot;True&quot;&gt;Background 2&lt;/Line&gt;&lt;Font themeColor=&quot;True&quot;&gt;Accent 1&lt;/Font&gt;&lt;EmphasizedFont themeColor=&quot;True&quot;&gt;Accent 6&lt;/EmphasizedFont&gt;&lt;/Colors&gt;&lt;Font bold=&quot;False&quot; italic=&quot;False&quot; /&gt;&lt;EmphasizedFont bold=&quot;False&quot; italic=&quot;False&quot; /&gt;&lt;/Emphasize&gt;&lt;LogoTitle top=&quot;111.2422&quot; left=&quot;575.4863&quot; width=&quot;130.3789&quot; height=&quot;51.02929&quot; alignment=&quot;right&quot; /&gt;&lt;LogoSlides top=&quot;523.1593&quot; left=&quot;21.03795&quot; width=&quot;90.79795&quot; height=&quot;13.70094&quot; alignment=&quot;center&quot; /&gt;&lt;Shapes&gt;&lt;Shape name=&quot;OT_FootnoteSource&quot;&gt;&lt;Top&gt;515.0182&lt;/Top&gt;&lt;Left&gt;8.464882&lt;/Left&gt;&lt;Width&gt;356.1899&lt;/Width&gt;&lt;Font name=&quot;Arial&quot; size=&quot;8&quot; /&gt;&lt;Tabs&gt;&lt;Tab Alignment=&quot;right&quot; Position=&quot;35.12504&quot; /&gt;&lt;Tab Alignment=&quot;left&quot; Position=&quot;42.5&quot; /&gt;&lt;/Tabs&gt;&lt;Indentation&gt;&lt;BeforeText&gt;0&lt;/BeforeText&gt;&lt;Hanging&gt;42.5&lt;/Hanging&gt;&lt;/Indentation&gt;&lt;Paragraphs&gt;&lt;SpaceBefore&gt;0&lt;/SpaceBefore&gt;&lt;SpaceAfter&gt;0&lt;/SpaceAfter&gt;&lt;/Paragraphs&gt;&lt;Paragraphs&gt;&lt;SpaceBefore&gt;0&lt;/SpaceBefore&gt;&lt;SpaceAfter&gt;0&lt;/SpaceAfter&gt;&lt;/Paragraphs&gt;&lt;Paragraphs&gt;&lt;SpaceBefore&gt;0&lt;/SpaceBefore&gt;&lt;SpaceAfter&gt;0&lt;/SpaceAfter&gt;&lt;/Paragraphs&gt;&lt;/Shape&gt;&lt;/Shapes&gt;&lt;Sticker&gt;&lt;Right&gt;27.93513&lt;/Right&gt;&lt;Top&gt;72.42912&lt;/Top&gt;&lt;Lines defaultColor=&quot;False&quot; weight=&quot;0.75&quot; /&gt;&lt;TextBox&gt;&lt;Font name=&quot;Tahoma&quot; size=&quot;11&quot; uppercase=&quot;True&quot; bold=&quot;False&quot; italic=&quot;False&quot; /&gt;&lt;Margins topBottom=&quot;3.1185&quot; leftRight=&quot;1.5&quot; /&gt;&lt;/TextBox&gt;&lt;/Sticker&gt;&lt;Table&gt;&lt;Colors&gt;&lt;HeadFill themeColor=&quot;False&quot;&gt;-10046465&lt;/HeadFill&gt;&lt;HeadInnerBorders themeColor=&quot;True&quot;&gt;Background 2&lt;/HeadInnerBorders&gt;&lt;HeadFont themeColor=&quot;True&quot;&gt;Text 1&lt;/HeadFont&gt;&lt;NormalFill themeColor=&quot;True&quot;&gt;Background 1&lt;/NormalFill&gt;&lt;NormalFont themeColor=&quot;True&quot;&gt;Text 1&lt;/NormalFont&gt;&lt;NormalBorder themeColor=&quot;True&quot;&gt;Background 2&lt;/NormalBorder&gt;&lt;/Colors&gt;&lt;HeadFont bold=&quot;True&quot; /&gt;&lt;/Table&gt;&lt;Zoom&gt;&lt;Transparency&gt;50&lt;/Transparency&gt;&lt;Colors&gt;&lt;Background themeColor=&quot;True&quot;&gt;Accent 4&lt;/Background&gt;&lt;Line themeColor=&quot;False&quot;&gt;No Fill&lt;/Line&gt;&lt;/Colors&gt;&lt;Line weight=&quot;0.25&quot; dashStyle=&quot;msoLineDash&quot; /&gt;&lt;/Zoom&gt;&lt;/Presentation&gt;&lt;PropertiesVisible&gt;true&lt;/PropertiesVisible&gt;&lt;/Properties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lipchart-Template">
  <a:themeElements>
    <a:clrScheme name="Flipchart">
      <a:dk1>
        <a:sysClr val="windowText" lastClr="000000"/>
      </a:dk1>
      <a:lt1>
        <a:sysClr val="window" lastClr="FFFFFF"/>
      </a:lt1>
      <a:dk2>
        <a:srgbClr val="039650"/>
      </a:dk2>
      <a:lt2>
        <a:srgbClr val="B7B9BC"/>
      </a:lt2>
      <a:accent1>
        <a:srgbClr val="0C0E69"/>
      </a:accent1>
      <a:accent2>
        <a:srgbClr val="954F4A"/>
      </a:accent2>
      <a:accent3>
        <a:srgbClr val="E86709"/>
      </a:accent3>
      <a:accent4>
        <a:srgbClr val="DB83B0"/>
      </a:accent4>
      <a:accent5>
        <a:srgbClr val="FF0F0C"/>
      </a:accent5>
      <a:accent6>
        <a:srgbClr val="FCCE01"/>
      </a:accent6>
      <a:hlink>
        <a:srgbClr val="0C0E69"/>
      </a:hlink>
      <a:folHlink>
        <a:srgbClr val="CE4D4A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400" dirty="0" smtClean="0">
            <a:latin typeface="NeulandFontEuro" panose="000004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Flipchart-Vorlage.potx" id="{CD809989-85EE-49D6-BCD4-BD6584114B44}" vid="{52D18D9C-BEAB-463E-913D-DB0E7A79B3F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lipchart-Vorlage</Template>
  <TotalTime>0</TotalTime>
  <Words>35</Words>
  <Application>Microsoft Office PowerPoint</Application>
  <PresentationFormat>A4 Paper (210x297 mm)</PresentationFormat>
  <Paragraphs>12</Paragraphs>
  <Slides>3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NeulandFontEuro</vt:lpstr>
      <vt:lpstr>Arial</vt:lpstr>
      <vt:lpstr>Flipchart-Template</vt:lpstr>
      <vt:lpstr>think-cell Slide</vt:lpstr>
      <vt:lpstr>Flipchart-Vorlage mit oder ohne Hintergrundraster</vt:lpstr>
      <vt:lpstr>PowerPoint Presentation</vt:lpstr>
      <vt:lpstr>Die Flipchart-Vorlage verwendet die Farben von Flipchart-Stif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ipchart-Vorlage mit oder ohne Hintergrundraster</dc:title>
  <dc:creator>Office Services</dc:creator>
  <cp:lastModifiedBy>Stefan Berger</cp:lastModifiedBy>
  <cp:revision>17</cp:revision>
  <cp:lastPrinted>2017-10-04T17:26:18Z</cp:lastPrinted>
  <dcterms:created xsi:type="dcterms:W3CDTF">2017-10-17T09:17:29Z</dcterms:created>
  <dcterms:modified xsi:type="dcterms:W3CDTF">2025-08-02T12:30:23Z</dcterms:modified>
  <cp:contentStatus>v2.0</cp:contentStatus>
</cp:coreProperties>
</file>